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3"/>
  </p:notesMasterIdLst>
  <p:sldIdLst>
    <p:sldId id="325" r:id="rId2"/>
  </p:sldIdLst>
  <p:sldSz cx="10691813" cy="6858000"/>
  <p:notesSz cx="6797675" cy="9928225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00"/>
    <a:srgbClr val="FFC000"/>
    <a:srgbClr val="D6D7D9"/>
    <a:srgbClr val="A67C00"/>
    <a:srgbClr val="0095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7994" autoAdjust="0"/>
  </p:normalViewPr>
  <p:slideViewPr>
    <p:cSldViewPr snapToGrid="0">
      <p:cViewPr varScale="1">
        <p:scale>
          <a:sx n="115" d="100"/>
          <a:sy n="115" d="100"/>
        </p:scale>
        <p:origin x="120" y="7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27515511195037E-2"/>
          <c:y val="3.2520325203252036E-2"/>
          <c:w val="0.97194496897760996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B9F-4904-A124-5DD490FCE2D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B9F-4904-A124-5DD490FCE2D6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.3639508070714834</c:v>
                </c:pt>
                <c:pt idx="1">
                  <c:v>2.3639508070714834</c:v>
                </c:pt>
                <c:pt idx="2">
                  <c:v>5.3639508070714834</c:v>
                </c:pt>
                <c:pt idx="3">
                  <c:v>7.3639508070714834</c:v>
                </c:pt>
                <c:pt idx="4">
                  <c:v>9.3639508070714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B9F-4904-A124-5DD490FCE2D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87617260787992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B9F-4904-A124-5DD490FCE2D6}"/>
                </c:ext>
              </c:extLst>
            </c:dLbl>
            <c:dLbl>
              <c:idx val="2"/>
              <c:layout>
                <c:manualLayout>
                  <c:x val="0"/>
                  <c:y val="-1.87617260787992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B9F-4904-A124-5DD490FCE2D6}"/>
                </c:ext>
              </c:extLst>
            </c:dLbl>
            <c:dLbl>
              <c:idx val="3"/>
              <c:layout>
                <c:manualLayout>
                  <c:x val="0"/>
                  <c:y val="-1.87617260787992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B9F-4904-A124-5DD490FCE2D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3</c:v>
                </c:pt>
                <c:pt idx="2">
                  <c:v>2</c:v>
                </c:pt>
                <c:pt idx="3">
                  <c:v>1.99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B9F-4904-A124-5DD490FCE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4574368"/>
        <c:axId val="1"/>
      </c:barChart>
      <c:catAx>
        <c:axId val="434574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3639508070714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4574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3.2520325203252036E-2"/>
          <c:w val="0.94825870646766164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B1D-4B61-9361-74DFAFF9078E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.8639508070714834</c:v>
                </c:pt>
                <c:pt idx="1">
                  <c:v>3.6639508070714832</c:v>
                </c:pt>
                <c:pt idx="2">
                  <c:v>12.363950807071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D-4B61-9361-74DFAFF9078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1.8761726078799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B1D-4B61-9361-74DFAFF907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B1D-4B61-9361-74DFAFF9078E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1.8761726078799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B1D-4B61-9361-74DFAFF907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B1D-4B61-9361-74DFAFF90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4571456"/>
        <c:axId val="1"/>
      </c:barChart>
      <c:catAx>
        <c:axId val="434571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3639508070714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4571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E0DC3A-04FA-4AA3-9654-402065F8F3B2}" type="datetimeFigureOut">
              <a:rPr lang="en-US" smtClean="0"/>
              <a:t>5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1241425"/>
            <a:ext cx="5219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EE3FBB-5983-4E2F-822B-03BEE3E88B3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059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EE3FBB-5983-4E2F-822B-03BEE3E88B3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791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10691812" cy="686308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8793481" y="-1"/>
            <a:ext cx="1898333" cy="720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4121" y="2068692"/>
            <a:ext cx="4178237" cy="341632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1800" baseline="0"/>
            </a:lvl1pPr>
            <a:lvl2pPr marL="400981" indent="0" algn="ctr">
              <a:buNone/>
              <a:defRPr sz="1754"/>
            </a:lvl2pPr>
            <a:lvl3pPr marL="801964" indent="0" algn="ctr">
              <a:buNone/>
              <a:defRPr sz="1579"/>
            </a:lvl3pPr>
            <a:lvl4pPr marL="1202945" indent="0" algn="ctr">
              <a:buNone/>
              <a:defRPr sz="1403"/>
            </a:lvl4pPr>
            <a:lvl5pPr marL="1603927" indent="0" algn="ctr">
              <a:buNone/>
              <a:defRPr sz="1403"/>
            </a:lvl5pPr>
            <a:lvl6pPr marL="2004909" indent="0" algn="ctr">
              <a:buNone/>
              <a:defRPr sz="1403"/>
            </a:lvl6pPr>
            <a:lvl7pPr marL="2405890" indent="0" algn="ctr">
              <a:buNone/>
              <a:defRPr sz="1403"/>
            </a:lvl7pPr>
            <a:lvl8pPr marL="2806872" indent="0" algn="ctr">
              <a:buNone/>
              <a:defRPr sz="1403"/>
            </a:lvl8pPr>
            <a:lvl9pPr marL="3207853" indent="0" algn="ctr">
              <a:buNone/>
              <a:defRPr sz="1403"/>
            </a:lvl9pPr>
          </a:lstStyle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982" y="182256"/>
            <a:ext cx="1488376" cy="355491"/>
          </a:xfrm>
          <a:prstGeom prst="rect">
            <a:avLst/>
          </a:prstGeom>
        </p:spPr>
      </p:pic>
      <p:sp>
        <p:nvSpPr>
          <p:cNvPr id="26" name="Title 25"/>
          <p:cNvSpPr>
            <a:spLocks noGrp="1"/>
          </p:cNvSpPr>
          <p:nvPr>
            <p:ph type="title"/>
          </p:nvPr>
        </p:nvSpPr>
        <p:spPr>
          <a:xfrm>
            <a:off x="6294121" y="995003"/>
            <a:ext cx="4178237" cy="1073691"/>
          </a:xfrm>
        </p:spPr>
        <p:txBody>
          <a:bodyPr lIns="0" rIns="0" anchor="t" anchorCtr="0">
            <a:normAutofit/>
          </a:bodyPr>
          <a:lstStyle>
            <a:lvl1pPr>
              <a:defRPr sz="2400" b="1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" y="6499860"/>
            <a:ext cx="10691812" cy="363220"/>
          </a:xfrm>
          <a:prstGeom prst="rect">
            <a:avLst/>
          </a:prstGeom>
          <a:solidFill>
            <a:schemeClr val="accent6">
              <a:lumMod val="50000"/>
            </a:schemeClr>
          </a:solidFill>
          <a:effectLst>
            <a:outerShdw blurRad="50800" dist="12700" dir="16200000" rotWithShape="0">
              <a:prstClr val="black">
                <a:alpha val="40000"/>
              </a:prstClr>
            </a:outerShdw>
          </a:effectLst>
        </p:spPr>
        <p:txBody>
          <a:bodyPr vert="horz" lIns="540000" tIns="45720" rIns="540000" bIns="4572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4754768" algn="ctr"/>
                <a:tab pos="9617490" algn="r"/>
              </a:tabLst>
            </a:pPr>
            <a:r>
              <a:rPr lang="en-US" dirty="0"/>
              <a:t>© think-cell Sales GmbH &amp; Co. KG		</a:t>
            </a:r>
            <a:fld id="{31A83560-C9AB-4670-940F-628108F1A26F}" type="slidenum">
              <a:rPr lang="en-US" smtClean="0"/>
              <a:pPr algn="l">
                <a:tabLst>
                  <a:tab pos="4754768" algn="ctr"/>
                  <a:tab pos="9617490" algn="r"/>
                </a:tabLs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076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49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9" imgH="419" progId="TCLayout.ActiveDocument.1">
                  <p:embed/>
                </p:oleObj>
              </mc:Choice>
              <mc:Fallback>
                <p:oleObj name="think-cell Slide" r:id="rId4" imgW="419" imgH="4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0"/>
            <a:ext cx="8793479" cy="720000"/>
          </a:xfrm>
          <a:solidFill>
            <a:schemeClr val="accent1"/>
          </a:solidFill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txBody>
          <a:bodyPr lIns="540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899999"/>
            <a:ext cx="9612000" cy="5400000"/>
          </a:xfrm>
        </p:spPr>
        <p:txBody>
          <a:bodyPr lIns="0" tIns="0" rIns="0" bIns="0"/>
          <a:lstStyle>
            <a:lvl1pPr>
              <a:defRPr sz="2000" b="1"/>
            </a:lvl1pPr>
            <a:lvl2pPr marL="180983" indent="-180983">
              <a:buFont typeface="Symbol" panose="05050102010706020507" pitchFamily="18" charset="2"/>
              <a:buChar char="-"/>
              <a:defRPr sz="1200"/>
            </a:lvl2pPr>
            <a:lvl3pPr marL="357203" indent="-176221">
              <a:buFont typeface="Symbol" panose="05050102010706020507" pitchFamily="18" charset="2"/>
              <a:buChar char="-"/>
              <a:defRPr sz="1200"/>
            </a:lvl3pPr>
            <a:lvl4pPr marL="538186" indent="-180983">
              <a:buFont typeface="Symbol" panose="05050102010706020507" pitchFamily="18" charset="2"/>
              <a:buChar char="-"/>
              <a:defRPr sz="1200"/>
            </a:lvl4pPr>
            <a:lvl5pPr marL="719169" indent="-180983">
              <a:buFont typeface="Symbol" panose="05050102010706020507" pitchFamily="18" charset="2"/>
              <a:buChar char="-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982" y="182256"/>
            <a:ext cx="1488376" cy="355491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" y="6499860"/>
            <a:ext cx="10691812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lIns="540000" tIns="45720" rIns="540000" bIns="4572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4754768" algn="ctr"/>
                <a:tab pos="9617490" algn="r"/>
              </a:tabLst>
            </a:pPr>
            <a:r>
              <a:rPr lang="en-US" dirty="0"/>
              <a:t>© think-cell Sales GmbH &amp; Co. KG		</a:t>
            </a:r>
            <a:fld id="{31A83560-C9AB-4670-940F-628108F1A26F}" type="slidenum">
              <a:rPr lang="en-US" smtClean="0"/>
              <a:pPr algn="l">
                <a:tabLst>
                  <a:tab pos="4754768" algn="ctr"/>
                  <a:tab pos="9617490" algn="r"/>
                </a:tabLs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82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195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9" imgH="419" progId="TCLayout.ActiveDocument.1">
                  <p:embed/>
                </p:oleObj>
              </mc:Choice>
              <mc:Fallback>
                <p:oleObj name="think-cell Slide" r:id="rId3" imgW="419" imgH="4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4754768" algn="ctr"/>
                <a:tab pos="9617490" algn="r"/>
              </a:tabLst>
            </a:pPr>
            <a:r>
              <a:rPr lang="en-US" dirty="0"/>
              <a:t>© think-cell Sales GmbH &amp; Co. KG		</a:t>
            </a:r>
            <a:fld id="{31A83560-C9AB-4670-940F-628108F1A26F}" type="slidenum">
              <a:rPr lang="en-US" smtClean="0"/>
              <a:pPr algn="l">
                <a:tabLst>
                  <a:tab pos="4754768" algn="ctr"/>
                  <a:tab pos="9617490" algn="r"/>
                </a:tabLs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650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82320852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9" imgH="419" progId="TCLayout.ActiveDocument.1">
                  <p:embed/>
                </p:oleObj>
              </mc:Choice>
              <mc:Fallback>
                <p:oleObj name="think-cell Slide" r:id="rId7" imgW="419" imgH="4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85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0" y="360000"/>
            <a:ext cx="922168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999" y="1825625"/>
            <a:ext cx="9252000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" y="6499860"/>
            <a:ext cx="10691812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  <a:effectLst>
            <a:outerShdw blurRad="50800" dist="12700" dir="16200000" rotWithShape="0">
              <a:prstClr val="black">
                <a:alpha val="30000"/>
              </a:prstClr>
            </a:outerShdw>
          </a:effectLst>
        </p:spPr>
        <p:txBody>
          <a:bodyPr vert="horz" lIns="540000" tIns="45720" rIns="540000" bIns="45720" rtlCol="0" anchor="ctr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4754768" algn="ctr"/>
                <a:tab pos="9617490" algn="r"/>
              </a:tabLst>
            </a:pPr>
            <a:r>
              <a:rPr lang="en-US" dirty="0"/>
              <a:t>© think-cell Sales GmbH &amp; Co. KG		</a:t>
            </a:r>
            <a:fld id="{31A83560-C9AB-4670-940F-628108F1A26F}" type="slidenum">
              <a:rPr lang="en-US" smtClean="0"/>
              <a:pPr algn="l">
                <a:tabLst>
                  <a:tab pos="4754768" algn="ctr"/>
                  <a:tab pos="9617490" algn="r"/>
                </a:tabLs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1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801964" rtl="0" eaLnBrk="1" latinLnBrk="0" hangingPunct="1">
        <a:lnSpc>
          <a:spcPct val="90000"/>
        </a:lnSpc>
        <a:spcBef>
          <a:spcPct val="0"/>
        </a:spcBef>
        <a:buNone/>
        <a:defRPr sz="385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801964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983" indent="-180983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57203" indent="-176221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38186" indent="-180983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9169" indent="-180983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205399" indent="-200491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382" indent="-200491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363" indent="-200491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344" indent="-200491" algn="l" defTabSz="801964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0981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1964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2945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3927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4909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5890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6872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7853" algn="l" defTabSz="801964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notesSlide" Target="../notesSlides/notesSlide1.xml"/><Relationship Id="rId50" Type="http://schemas.openxmlformats.org/officeDocument/2006/relationships/chart" Target="../charts/chart1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tags" Target="../tags/tag47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image" Target="../media/image1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oleObject" Target="../embeddings/oleObject4.bin"/><Relationship Id="rId8" Type="http://schemas.openxmlformats.org/officeDocument/2006/relationships/tags" Target="../tags/tag14.xml"/><Relationship Id="rId51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137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19" imgH="419" progId="TCLayout.ActiveDocument.1">
                  <p:embed/>
                </p:oleObj>
              </mc:Choice>
              <mc:Fallback>
                <p:oleObj name="think-cell Slide" r:id="rId48" imgW="419" imgH="4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7D39DB0E-4A99-4A5E-B510-8E99CC633A81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Title&lt;/m_strName&gt;&lt;/PersistentType&gt;&lt;/root&gt;">
              <a:rPr lang="en-US" altLang="en-US" smtClean="0"/>
              <a:pPr/>
              <a:t>&lt;Title&gt;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4754768" algn="ctr"/>
                <a:tab pos="9617490" algn="r"/>
              </a:tabLst>
            </a:pPr>
            <a:r>
              <a:rPr lang="en-US" dirty="0"/>
              <a:t>© 2002-2023 think-cell		</a:t>
            </a:r>
            <a:fld id="{31A83560-C9AB-4670-940F-628108F1A26F}" type="slidenum">
              <a:rPr lang="en-US"/>
              <a:pPr algn="l">
                <a:tabLst>
                  <a:tab pos="4754768" algn="ctr"/>
                  <a:tab pos="9617490" algn="r"/>
                </a:tabLst>
              </a:pPr>
              <a:t>1</a:t>
            </a:fld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39751" y="947739"/>
            <a:ext cx="657225" cy="900113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71438" tIns="71438" rIns="0" bIns="61595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6CB6777-33E3-4D8A-8549-4EA595239714}" type="thinkcell&lt;?xml version=&quot;1.0&quot; encoding=&quot;UTF-16&quot; standalone=&quot;yes&quot;?&gt;&lt;root reqver=&quot;25060&quot;&gt;&lt;version val=&quot;27864&quot;/&gt;&lt;PersistentType&gt;&lt;m_varval type=&quot;5&quot;/&gt;&lt;m_prec&gt;&lt;m_yearfmt&gt;&lt;begin val=&quot;0&quot;/&gt;&lt;end val=&quot;4&quot;/&gt;&lt;/m_yearfmt&gt;&lt;/m_prec&gt;&lt;m_strName&gt;Left&lt;/m_strName&gt;&lt;/PersistentType&gt;&lt;/root&gt;">
              <a:rPr lang="en-US" altLang="en-US" sz="1400" smtClean="0"/>
              <a:pPr/>
              <a:t>&lt;Left&gt;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D3F33D1-9C89-4BC5-99D8-EAFA17C6C1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81550" y="947739"/>
            <a:ext cx="893763" cy="900113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71438" tIns="71438" rIns="0" bIns="61595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99E15C3-FE04-4B49-8445-A84029543B44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Center&lt;/m_strName&gt;&lt;/PersistentType&gt;&lt;/root&gt;">
              <a:rPr lang="en-US" altLang="en-US" sz="1400" smtClean="0">
                <a:sym typeface="Arial" panose="020B0604020202020204" pitchFamily="34" charset="0"/>
              </a:rPr>
              <a:pPr/>
              <a:t>&lt;Center&gt;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A07EA61-E82F-4116-BBCF-5C38B2FD030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259888" y="947739"/>
            <a:ext cx="776288" cy="900113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71438" tIns="71438" rIns="0" bIns="61595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D46BDE7-4670-47B9-82B0-0D637F8F3120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Right&lt;/m_strName&gt;&lt;/PersistentType&gt;&lt;/root&gt;">
              <a:rPr lang="en-US" altLang="en-US" sz="1400" smtClean="0">
                <a:sym typeface="Arial" panose="020B0604020202020204" pitchFamily="34" charset="0"/>
              </a:rPr>
              <a:pPr/>
              <a:t>&lt;Right&gt;</a:t>
            </a:fld>
            <a:endParaRPr lang="en-US" sz="1400" dirty="0">
              <a:sym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18D1340-094A-49AD-8DC8-FF45597BFC9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430338" y="5237163"/>
            <a:ext cx="508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E1A05FC-01C7-4742-B637-8C661C63828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573338" y="4741863"/>
            <a:ext cx="508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78572E-A2F2-4FF7-BCFC-61E26B3AEE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717925" y="4411663"/>
            <a:ext cx="508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E714398-A94A-4595-AD98-30CD70D65B43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860925" y="4079875"/>
            <a:ext cx="508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0AC5E482-2EE3-434E-8086-E93563F1B8ED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47300843"/>
              </p:ext>
            </p:extLst>
          </p:nvPr>
        </p:nvGraphicFramePr>
        <p:xfrm>
          <a:off x="457200" y="3171825"/>
          <a:ext cx="5884863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 useBgFill="1">
        <p:nvSpPr>
          <p:cNvPr id="49" name="Freeform: Shape 48">
            <a:extLst>
              <a:ext uri="{FF2B5EF4-FFF2-40B4-BE49-F238E27FC236}">
                <a16:creationId xmlns:a16="http://schemas.microsoft.com/office/drawing/2014/main" id="{2C9AB0C5-824F-4B6C-BA36-5566FB82848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314950" y="5345113"/>
            <a:ext cx="744539" cy="257176"/>
          </a:xfrm>
          <a:custGeom>
            <a:avLst/>
            <a:gdLst/>
            <a:ahLst/>
            <a:cxnLst/>
            <a:rect l="0" t="0" r="0" b="0"/>
            <a:pathLst>
              <a:path w="744539" h="257176">
                <a:moveTo>
                  <a:pt x="0" y="200025"/>
                </a:moveTo>
                <a:lnTo>
                  <a:pt x="744538" y="0"/>
                </a:lnTo>
                <a:lnTo>
                  <a:pt x="744538" y="57150"/>
                </a:lnTo>
                <a:lnTo>
                  <a:pt x="0" y="2571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6" name="Freeform: Shape 45">
            <a:extLst>
              <a:ext uri="{FF2B5EF4-FFF2-40B4-BE49-F238E27FC236}">
                <a16:creationId xmlns:a16="http://schemas.microsoft.com/office/drawing/2014/main" id="{A8DDB3DC-D8D9-490D-84FA-5A9FA4B3757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39775" y="5345113"/>
            <a:ext cx="744539" cy="257176"/>
          </a:xfrm>
          <a:custGeom>
            <a:avLst/>
            <a:gdLst/>
            <a:ahLst/>
            <a:cxnLst/>
            <a:rect l="0" t="0" r="0" b="0"/>
            <a:pathLst>
              <a:path w="744539" h="257176">
                <a:moveTo>
                  <a:pt x="0" y="200025"/>
                </a:moveTo>
                <a:lnTo>
                  <a:pt x="744538" y="0"/>
                </a:lnTo>
                <a:lnTo>
                  <a:pt x="744538" y="57150"/>
                </a:lnTo>
                <a:lnTo>
                  <a:pt x="0" y="2571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01D3584-039C-4EAE-9306-BE066B7114F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39775" y="5402263"/>
            <a:ext cx="744539" cy="200026"/>
          </a:xfrm>
          <a:custGeom>
            <a:avLst/>
            <a:gdLst/>
            <a:ahLst/>
            <a:cxnLst/>
            <a:rect l="0" t="0" r="0" b="0"/>
            <a:pathLst>
              <a:path w="744539" h="200026">
                <a:moveTo>
                  <a:pt x="0" y="200025"/>
                </a:moveTo>
                <a:lnTo>
                  <a:pt x="7445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F63DCA1-93D8-4CC9-95A4-B453E20B7E7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314950" y="5402263"/>
            <a:ext cx="744539" cy="200026"/>
          </a:xfrm>
          <a:custGeom>
            <a:avLst/>
            <a:gdLst/>
            <a:ahLst/>
            <a:cxnLst/>
            <a:rect l="0" t="0" r="0" b="0"/>
            <a:pathLst>
              <a:path w="744539" h="200026">
                <a:moveTo>
                  <a:pt x="0" y="200025"/>
                </a:moveTo>
                <a:lnTo>
                  <a:pt x="7445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C9FA699A-8650-40D3-910E-B8B7D16587B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39775" y="5345113"/>
            <a:ext cx="744539" cy="200026"/>
          </a:xfrm>
          <a:custGeom>
            <a:avLst/>
            <a:gdLst/>
            <a:ahLst/>
            <a:cxnLst/>
            <a:rect l="0" t="0" r="0" b="0"/>
            <a:pathLst>
              <a:path w="744539" h="200026">
                <a:moveTo>
                  <a:pt x="0" y="200025"/>
                </a:moveTo>
                <a:lnTo>
                  <a:pt x="7445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8D45FDC-A20B-4131-BA20-5F509FA1957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314950" y="5345113"/>
            <a:ext cx="744539" cy="200026"/>
          </a:xfrm>
          <a:custGeom>
            <a:avLst/>
            <a:gdLst/>
            <a:ahLst/>
            <a:cxnLst/>
            <a:rect l="0" t="0" r="0" b="0"/>
            <a:pathLst>
              <a:path w="744539" h="200026">
                <a:moveTo>
                  <a:pt x="0" y="200025"/>
                </a:moveTo>
                <a:lnTo>
                  <a:pt x="7445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AE14AB-315E-475C-A066-46067EC15E9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1111250" y="4076700"/>
            <a:ext cx="0" cy="9429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333581-452D-424D-B23A-A952291A15CD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1068388" y="4079875"/>
            <a:ext cx="31575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4EC17F-13E4-448E-AA98-D5FEA34D8E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89000" y="5686425"/>
            <a:ext cx="446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D3C2FB-F7EF-4F9F-A9D8-06EAC36A643E}" type="datetime'''''''''''''''L''ab''''''''''''''el''''''''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27934D-6D58-4B29-A8DE-B40B9682872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33588" y="5686425"/>
            <a:ext cx="446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B940FD-698E-4EDA-AAA5-D62736D10A9E}" type="datetime'''La''be''''''''''''''''''''''''''''''''l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DF0353E-6297-4F01-93EF-05B1AAFCB4A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176588" y="5686425"/>
            <a:ext cx="446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3F7F08-D68A-4AC5-9DAC-D00C37C17C1C}" type="datetime'La''''''''''''''''b''''''e''''''''''''''''''''''''l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68AC84B-50B6-4FCC-9B0D-2110B70008B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321175" y="5686425"/>
            <a:ext cx="446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885B4AF-B467-4825-AD86-5F65CAA28A7C}" type="datetime'''''''''L''''''''''''''''''a''''bel'''''''''''">
              <a:rPr lang="en-US" altLang="en-US" sz="1400" smtClean="0"/>
              <a:pPr/>
              <a:t>Label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6657261-8860-49DB-9A1D-969EFE72A9B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464175" y="5686425"/>
            <a:ext cx="4460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AD526F-ECD0-4433-8AAD-47A848EEF279}" type="datetime'''''L''''''''''''a''b''''''''''''e''''''''''l'''''''">
              <a:rPr lang="en-US" altLang="en-US" sz="1400" smtClean="0"/>
              <a:pPr/>
              <a:t>Label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232C624-4DFE-42FA-A1A7-AC64FC389E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36639" y="5019675"/>
            <a:ext cx="149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B1D434-20BE-4B74-9745-80F9F9E57F2E}" type="datetime'''''''''''''''''''''''''''''''''''4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186D06A-7BED-4F83-B1A8-AC0F8950079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568950" y="3862388"/>
            <a:ext cx="234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9B4889-A1FA-407D-B50F-E637C1DD2B28}" type="datetime'''''''''''''1''''''''''''''1''''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6EB7969-1E00-4E0D-8089-38BBE786AFE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50839" y="4321175"/>
            <a:ext cx="1520825" cy="54451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ym typeface="Arial" panose="020B0604020202020204" pitchFamily="34" charset="0"/>
              </a:rPr>
              <a:t>Star players: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95347F37-492C-48FF-B696-26A37CDF7735}" type="datetime'''''''''''''''''''+''''''7'''''">
              <a:rPr lang="en-US" altLang="en-US" sz="1400" b="1" smtClean="0"/>
              <a:pPr/>
              <a:t>+7</a:t>
            </a:fld>
            <a:r>
              <a:rPr lang="en-US" altLang="en-US" sz="1400" b="1" dirty="0"/>
              <a:t> goals</a:t>
            </a:r>
            <a:endParaRPr lang="en-US" sz="1400" b="1" dirty="0">
              <a:sym typeface="Arial" panose="020B0604020202020204" pitchFamily="34" charset="0"/>
            </a:endParaRP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DBBE0C25-92F0-4D29-85E1-52CA9CD33783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19080307"/>
              </p:ext>
            </p:extLst>
          </p:nvPr>
        </p:nvGraphicFramePr>
        <p:xfrm>
          <a:off x="6927850" y="3171825"/>
          <a:ext cx="3190875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 useBgFill="1">
        <p:nvSpPr>
          <p:cNvPr id="52" name="Freeform: Shape 51">
            <a:extLst>
              <a:ext uri="{FF2B5EF4-FFF2-40B4-BE49-F238E27FC236}">
                <a16:creationId xmlns:a16="http://schemas.microsoft.com/office/drawing/2014/main" id="{E63ADAFC-F384-44B6-8918-6A6D0034D72B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180263" y="5356225"/>
            <a:ext cx="668338" cy="236539"/>
          </a:xfrm>
          <a:custGeom>
            <a:avLst/>
            <a:gdLst/>
            <a:ahLst/>
            <a:cxnLst/>
            <a:rect l="0" t="0" r="0" b="0"/>
            <a:pathLst>
              <a:path w="668338" h="236539">
                <a:moveTo>
                  <a:pt x="0" y="179388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5" name="Freeform: Shape 54">
            <a:extLst>
              <a:ext uri="{FF2B5EF4-FFF2-40B4-BE49-F238E27FC236}">
                <a16:creationId xmlns:a16="http://schemas.microsoft.com/office/drawing/2014/main" id="{883CAE1A-9059-415E-94EC-C972210E8465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188325" y="5354638"/>
            <a:ext cx="669926" cy="238126"/>
          </a:xfrm>
          <a:custGeom>
            <a:avLst/>
            <a:gdLst/>
            <a:ahLst/>
            <a:cxnLst/>
            <a:rect l="0" t="0" r="0" b="0"/>
            <a:pathLst>
              <a:path w="669926" h="238126">
                <a:moveTo>
                  <a:pt x="0" y="180975"/>
                </a:moveTo>
                <a:lnTo>
                  <a:pt x="669925" y="0"/>
                </a:lnTo>
                <a:lnTo>
                  <a:pt x="669925" y="57150"/>
                </a:lnTo>
                <a:lnTo>
                  <a:pt x="0" y="23812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1" name="Freeform: Shape 60">
            <a:extLst>
              <a:ext uri="{FF2B5EF4-FFF2-40B4-BE49-F238E27FC236}">
                <a16:creationId xmlns:a16="http://schemas.microsoft.com/office/drawing/2014/main" id="{AA947F80-D122-4C27-9252-2BD9F920027D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197975" y="5356225"/>
            <a:ext cx="668339" cy="236539"/>
          </a:xfrm>
          <a:custGeom>
            <a:avLst/>
            <a:gdLst/>
            <a:ahLst/>
            <a:cxnLst/>
            <a:rect l="0" t="0" r="0" b="0"/>
            <a:pathLst>
              <a:path w="668339" h="236539">
                <a:moveTo>
                  <a:pt x="0" y="179388"/>
                </a:moveTo>
                <a:lnTo>
                  <a:pt x="668338" y="0"/>
                </a:lnTo>
                <a:lnTo>
                  <a:pt x="668338" y="57150"/>
                </a:lnTo>
                <a:lnTo>
                  <a:pt x="0" y="2365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86F01879-0791-48A6-B3B5-268EC16EAB2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188325" y="5354638"/>
            <a:ext cx="669926" cy="180976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18840B82-BA64-4DC2-B102-1D47147CD8C9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180263" y="5356225"/>
            <a:ext cx="668338" cy="179389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49108AE-3B7F-4A15-954A-F6F4806C3F88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180263" y="5413375"/>
            <a:ext cx="668338" cy="179389"/>
          </a:xfrm>
          <a:custGeom>
            <a:avLst/>
            <a:gdLst/>
            <a:ahLst/>
            <a:cxnLst/>
            <a:rect l="0" t="0" r="0" b="0"/>
            <a:pathLst>
              <a:path w="668338" h="179389">
                <a:moveTo>
                  <a:pt x="0" y="179388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2CF3C308-212D-41C4-9432-5C1361BCF59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8188325" y="5411788"/>
            <a:ext cx="669926" cy="180976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1489062D-4027-4E6E-8368-1E256D2D30CC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197975" y="5356225"/>
            <a:ext cx="668339" cy="179389"/>
          </a:xfrm>
          <a:custGeom>
            <a:avLst/>
            <a:gdLst/>
            <a:ahLst/>
            <a:cxnLst/>
            <a:rect l="0" t="0" r="0" b="0"/>
            <a:pathLst>
              <a:path w="668339" h="179389">
                <a:moveTo>
                  <a:pt x="0" y="179388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D40B5B77-4248-4464-B8F8-09ED59747B4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197975" y="5413375"/>
            <a:ext cx="668339" cy="179389"/>
          </a:xfrm>
          <a:custGeom>
            <a:avLst/>
            <a:gdLst/>
            <a:ahLst/>
            <a:cxnLst/>
            <a:rect l="0" t="0" r="0" b="0"/>
            <a:pathLst>
              <a:path w="668339" h="179389">
                <a:moveTo>
                  <a:pt x="0" y="179388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CBB9034-E15C-4E94-9817-F422ECDC2A0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448676" y="4805363"/>
            <a:ext cx="149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1E966C-F136-4B72-8138-ACABAC0AF67A}" type="datetime'''''''5''''''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45B9388-2393-43D7-B698-B9F03BC5AEA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310438" y="568642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AD352B-F10E-4767-8BE5-670198850C75}" type="datetime'''''2''''0''''1''''''''''''''''''7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2AA1090-538F-4FD3-918A-BDE1905E73A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320088" y="568642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BAD911-4D55-48B4-AD1F-E514A5CAE69F}" type="datetime'''''''''''''''''''''2''''''''''''''''01''''''8''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22E34BD-3C78-4FD6-854B-A4BDD70A631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407524" y="3036888"/>
            <a:ext cx="247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DE42BAA-A8E4-422C-9971-EE04A754C128}" type="datetime'''''''''''''''''1''6'''''">
              <a:rPr lang="en-US" altLang="en-US" sz="1400" smtClean="0"/>
              <a:pPr/>
              <a:t>16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6F7D7BFC-7ACC-4876-846D-7AA7670AA48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407525" y="4510088"/>
            <a:ext cx="247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A6C0D1-B304-469F-BE6A-CBFBA9CCB778}" type="datetime'''''''''''1''''''''4'''''''''''''''''''''''''''''''''''''''''">
              <a:rPr lang="en-US" altLang="en-US" sz="1400" smtClean="0">
                <a:solidFill>
                  <a:schemeClr val="bg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23468EEB-3AB8-45BF-A320-5B49A4506D9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439026" y="5102225"/>
            <a:ext cx="149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1B77D3B-9A65-4E6F-BE77-B8DB5D37EB6F}" type="datetime'''''4''''''''''''''''''''''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E17088F-BB50-4F8E-92E4-8302B13BEC9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328150" y="568642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D8999EE-73A0-4326-B954-22694543A968}" type="datetime'''''''''''''''''''2''''''''''''''''0''''''''''''1''''''''9'''">
              <a:rPr lang="en-US" altLang="en-US" sz="1400" smtClean="0"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 dirty="0"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CE850C-6BDE-457F-BA93-9E83BA1B58B1}"/>
              </a:ext>
            </a:extLst>
          </p:cNvPr>
          <p:cNvSpPr txBox="1"/>
          <p:nvPr/>
        </p:nvSpPr>
        <p:spPr>
          <a:xfrm>
            <a:off x="539750" y="6094413"/>
            <a:ext cx="27447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fld id="{F5051DC1-65DD-4F47-8D8C-F479B59C141E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SourceLeft&lt;/m_strName&gt;&lt;/PersistentType&gt;&lt;/root&gt;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&lt;SourceLeft&gt;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FB0482-19AD-4B77-BD47-6243B2F932D7}"/>
              </a:ext>
            </a:extLst>
          </p:cNvPr>
          <p:cNvSpPr txBox="1"/>
          <p:nvPr/>
        </p:nvSpPr>
        <p:spPr>
          <a:xfrm>
            <a:off x="7010400" y="6094413"/>
            <a:ext cx="27447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fld id="{DFDFE9BC-5C43-4F13-A034-F6CE3273070C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SourceRight&lt;/m_strName&gt;&lt;/PersistentType&gt;&lt;/root&gt;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&lt;SourceRight&gt;</a:t>
            </a:fld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0A24D29-8871-4073-9637-6B69F290E07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39749" y="2651125"/>
            <a:ext cx="5556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71438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B87582-BC69-434D-99B9-55C706D60FA5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LeftChartTitle&lt;/m_strName&gt;&lt;/PersistentType&gt;&lt;/root&gt;">
              <a:rPr lang="en-US" altLang="en-US" sz="1400" i="1" smtClean="0"/>
              <a:pPr/>
              <a:t>&lt;LeftChartTitle&gt;</a:t>
            </a:fld>
            <a:endParaRPr lang="en-US" sz="1400" i="1" dirty="0">
              <a:sym typeface="Arial" panose="020B060402020202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A9FD136-B4E6-4C5D-AFC7-8684283280C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010400" y="2651125"/>
            <a:ext cx="3025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21EE79D-246A-458A-A121-ACC12195086E}" type="thinkcell&lt;?xml version=&quot;1.0&quot; encoding=&quot;UTF-16&quot; standalone=&quot;yes&quot;?&gt;&lt;root reqver=&quot;25060&quot;&gt;&lt;version val=&quot;27862&quot;/&gt;&lt;PersistentType&gt;&lt;m_varval type=&quot;5&quot;/&gt;&lt;m_prec&gt;&lt;m_yearfmt&gt;&lt;begin val=&quot;0&quot;/&gt;&lt;end val=&quot;4&quot;/&gt;&lt;/m_yearfmt&gt;&lt;/m_prec&gt;&lt;m_strName&gt;RightChartTitle&lt;/m_strName&gt;&lt;/PersistentType&gt;&lt;/root&gt;">
              <a:rPr lang="en-US" altLang="en-US" sz="1400" i="1" smtClean="0"/>
              <a:pPr/>
              <a:t>&lt;RightChartTitle&gt;</a:t>
            </a:fld>
            <a:endParaRPr lang="en-US" sz="1400" i="1" dirty="0"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158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3.26767193822282742133E+00&quot;&gt;&lt;m_msothmcolidx val=&quot;0&quot;/&gt;&lt;m_rgb r=&quot;FF&quot; g=&quot;C0&quot; b=&quot;00&quot;/&gt;&lt;m_nBrightness endver=&quot;26206&quot; val=&quot;0&quot;/&gt;&lt;/elem&gt;&lt;elem m_fUsage=&quot;2.13409068362576537226E+00&quot;&gt;&lt;m_msothmcolidx val=&quot;0&quot;/&gt;&lt;m_rgb r=&quot;00&quot; g=&quot;34&quot; b=&quot;51&quot;/&gt;&lt;m_nBrightness endver=&quot;26206&quot; val=&quot;0&quot;/&gt;&lt;/elem&gt;&lt;elem m_fUsage=&quot;1.85368268267100044788E+00&quot;&gt;&lt;m_msothmcolidx val=&quot;0&quot;/&gt;&lt;m_rgb r=&quot;A6&quot; g=&quot;7C&quot; b=&quot;00&quot;/&gt;&lt;m_nBrightness endver=&quot;26206&quot; val=&quot;0&quot;/&gt;&lt;/elem&gt;&lt;elem m_fUsage=&quot;1.13622966496000921133E+00&quot;&gt;&lt;m_msothmcolidx val=&quot;0&quot;/&gt;&lt;m_rgb r=&quot;CC&quot; g=&quot;99&quot; b=&quot;00&quot;/&gt;&lt;m_nBrightness endver=&quot;26206&quot; val=&quot;0&quot;/&gt;&lt;/elem&gt;&lt;elem m_fUsage=&quot;7.58352308823390885983E-01&quot;&gt;&lt;m_msothmcolidx val=&quot;0&quot;/&gt;&lt;m_rgb r=&quot;C1&quot; g=&quot;92&quot; b=&quot;00&quot;/&gt;&lt;m_nBrightness endver=&quot;26206&quot; val=&quot;0&quot;/&gt;&lt;/elem&gt;&lt;elem m_fUsage=&quot;2.56661826357868549930E-01&quot;&gt;&lt;m_msothmcolidx val=&quot;0&quot;/&gt;&lt;m_rgb r=&quot;FF&quot; g=&quot;D5&quot; b=&quot;53&quot;/&gt;&lt;m_nBrightness endver=&quot;26206&quot; val=&quot;0&quot;/&gt;&lt;/elem&gt;&lt;elem m_fUsage=&quot;2.37636782187920225784E-01&quot;&gt;&lt;m_msothmcolidx val=&quot;0&quot;/&gt;&lt;m_rgb r=&quot;DF&quot; g=&quot;A8&quot; b=&quot;00&quot;/&gt;&lt;m_nBrightness endver=&quot;26206&quot; val=&quot;0&quot;/&gt;&lt;/elem&gt;&lt;elem m_fUsage=&quot;2.08244372300039254364E-01&quot;&gt;&lt;m_msothmcolidx val=&quot;0&quot;/&gt;&lt;m_rgb r=&quot;F7&quot; g=&quot;B9&quot; b=&quot;00&quot;/&gt;&lt;m_nBrightness endver=&quot;26206&quot; val=&quot;0&quot;/&gt;&lt;/elem&gt;&lt;elem m_fUsage=&quot;1.00212873456625398139E-01&quot;&gt;&lt;m_msothmcolidx val=&quot;0&quot;/&gt;&lt;m_rgb r=&quot;34&quot; g=&quot;4D&quot; b=&quot;00&quot;/&gt;&lt;m_nBrightness endver=&quot;26206&quot; val=&quot;0&quot;/&gt;&lt;/elem&gt;&lt;elem m_fUsage=&quot;3.09349135861813548387E-02&quot;&gt;&lt;m_msothmcolidx val=&quot;0&quot;/&gt;&lt;m_rgb r=&quot;00&quot; g=&quot;95&quot; b=&quot;EE&quot;/&gt;&lt;m_nBrightness endver=&quot;26206&quot; val=&quot;0&quot;/&gt;&lt;/elem&gt;&lt;elem m_fUsage=&quot;2.21853123446226355511E-03&quot;&gt;&lt;m_msothmcolidx val=&quot;0&quot;/&gt;&lt;m_rgb r=&quot;3E&quot; g=&quot;5B&quot; b=&quot;00&quot;/&gt;&lt;m_nBrightness endver=&quot;26206&quot; val=&quot;0&quot;/&gt;&lt;/elem&gt;&lt;elem m_fUsage=&quot;1.99667811101603706950E-03&quot;&gt;&lt;m_msothmcolidx val=&quot;0&quot;/&gt;&lt;m_rgb r=&quot;6E&quot; g=&quot;A6&quot; b=&quot;00&quot;/&gt;&lt;m_nBrightness endver=&quot;26206&quot; val=&quot;0&quot;/&gt;&lt;/elem&gt;&lt;elem m_fUsage=&quot;1.45557834293069112905E-03&quot;&gt;&lt;m_msothmcolidx val=&quot;0&quot;/&gt;&lt;m_rgb r=&quot;8A&quot; g=&quot;8A&quot; b=&quot;8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rqoBXpJwiL6mwCPult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qnjdGLpURuqww_vpxO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jn2wTSHBZGRiw3txY_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O7xiRUtjuJr5d4BmnQ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zgcJKGE_H11yha8Lx1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hi43TJfNqyBPNR7297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p5vxVkHs84bNNySSDV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U5klqKNiKwGg0Q53ft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.8H90t8HcVPJAROE9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CCDoogpySu0wReLK6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xb7Vjx0Dv_NtmBQst_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epG_K1mRmn67cwuu.1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ydWiQqb4iuiBE5GZ0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2rjslUyO9iwfmouIqH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axuxqK4lqcixydqFh_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Dbvc4jpmpyrDvjK_.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qjZ.QyeBfUBnJoi6Gy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XdGNd31RfFzKGvi9cf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T8nXVDscT6E_5QtsM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yl17_XToEqLvBM.wtY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XfhwhQtuv370LAtqp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13RcM1MV0MUqqZtHu8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roiDUmizw.DJERPMr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xxIKmpyx4XJpd6ivNK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X17iiKg4EUeIM0I4R2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PrmBNpYLrJkpAjpCL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rKCvajchE4sPgFhyLB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5eXgq7nhd0Svc9vxh5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Pbs_3baDP3WLHL0mUJ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nf2Qdft90b68PLXkog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_d_cp4HaY3oAkatiAv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ie.9DJXBsdHrmxAv2Y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1TplhU1TM_qqoYUGtR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Rr_2W6d.zhxKw_M1D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wgwWsx7kptXie1cMRr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_KGaGS1ud0eqltkOTP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Z7K3JW0w3Pcpp2KMj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rf5jCRVVnSI0pLTon0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fmh6DXlRBHpCmvJHo0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NuZSnW4CrDXzY9Y3.x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WXruFP7O8RzzFf_PaP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D47.nTseGw7yJIbxI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YS3.4F74zhymmVe1r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18gqgvpjViha3IPjik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wOfAEOSEGO_e5GyDKn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SypUQRBK9m.BRsLtwng"/>
</p:tagLst>
</file>

<file path=ppt/theme/theme1.xml><?xml version="1.0" encoding="utf-8"?>
<a:theme xmlns:a="http://schemas.openxmlformats.org/drawingml/2006/main" name="Office Theme">
  <a:themeElements>
    <a:clrScheme name="think-cell">
      <a:dk1>
        <a:sysClr val="windowText" lastClr="000000"/>
      </a:dk1>
      <a:lt1>
        <a:sysClr val="window" lastClr="FFFFFF"/>
      </a:lt1>
      <a:dk2>
        <a:srgbClr val="00507D"/>
      </a:dk2>
      <a:lt2>
        <a:srgbClr val="FFFFFF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555555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4</Words>
  <Application>Microsoft Office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Symbol</vt:lpstr>
      <vt:lpstr>Office Theme</vt:lpstr>
      <vt:lpstr>think-cell Slide</vt:lpstr>
      <vt:lpstr>&lt;Title&gt;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23T12:12:12Z</dcterms:created>
  <dcterms:modified xsi:type="dcterms:W3CDTF">2023-05-31T13:04:59Z</dcterms:modified>
</cp:coreProperties>
</file>